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4" r:id="rId1"/>
  </p:sldMasterIdLst>
  <p:notesMasterIdLst>
    <p:notesMasterId r:id="rId9"/>
  </p:notesMasterIdLst>
  <p:sldIdLst>
    <p:sldId id="258" r:id="rId2"/>
    <p:sldId id="259" r:id="rId3"/>
    <p:sldId id="260" r:id="rId4"/>
    <p:sldId id="261" r:id="rId5"/>
    <p:sldId id="262" r:id="rId6"/>
    <p:sldId id="263" r:id="rId7"/>
    <p:sldId id="264" r:id="rId8"/>
  </p:sldIdLst>
  <p:sldSz cx="18288000" cy="10287000"/>
  <p:notesSz cx="6858000" cy="9144000"/>
  <p:embeddedFontLst>
    <p:embeddedFont>
      <p:font typeface="Calibri" panose="020F0502020204030204" pitchFamily="34" charset="0"/>
      <p:regular r:id="rId10"/>
      <p:bold r:id="rId11"/>
      <p:italic r:id="rId12"/>
      <p:boldItalic r:id="rId13"/>
    </p:embeddedFont>
    <p:embeddedFont>
      <p:font typeface="Roboto Light" panose="020F0302020204030204" pitchFamily="34" charset="0"/>
      <p:regular r:id="rId14"/>
      <p:bold r:id="rId15"/>
      <p:italic r:id="rId16"/>
      <p:boldItalic r:id="rId17"/>
    </p:embeddedFont>
  </p:embeddedFontLst>
  <p:custDataLst>
    <p:tags r:id="rId1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48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DDAF70-7EA5-DB48-9B3A-37079EDC40EA}" v="5" dt="2023-09-13T12:30:16.40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181"/>
    <p:restoredTop sz="94651"/>
  </p:normalViewPr>
  <p:slideViewPr>
    <p:cSldViewPr snapToGrid="0">
      <p:cViewPr varScale="1">
        <p:scale>
          <a:sx n="76" d="100"/>
          <a:sy n="76" d="100"/>
        </p:scale>
        <p:origin x="600" y="216"/>
      </p:cViewPr>
      <p:guideLst>
        <p:guide orient="horz" pos="648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4.fntdata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2" Type="http://schemas.openxmlformats.org/officeDocument/2006/relationships/slide" Target="slides/slide1.xml"/><Relationship Id="rId16" Type="http://schemas.openxmlformats.org/officeDocument/2006/relationships/font" Target="fonts/font7.fntdata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2.fntdata"/><Relationship Id="rId5" Type="http://schemas.openxmlformats.org/officeDocument/2006/relationships/slide" Target="slides/slide4.xml"/><Relationship Id="rId15" Type="http://schemas.openxmlformats.org/officeDocument/2006/relationships/font" Target="fonts/font6.fntdata"/><Relationship Id="rId23" Type="http://schemas.microsoft.com/office/2015/10/relationships/revisionInfo" Target="revisionInfo.xml"/><Relationship Id="rId10" Type="http://schemas.openxmlformats.org/officeDocument/2006/relationships/font" Target="fonts/font1.fntdata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5.fntdata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st_Slide_FULL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Google Shape;12;p2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Google Shape;13;p2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5165912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Google Shape;18;p3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G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314670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Z_FINAL_SLIDE" userDrawn="1">
  <p:cSld name="END_SLIDE">
    <p:bg>
      <p:bgPr>
        <a:solidFill>
          <a:schemeClr val="lt1"/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3FA9C0-522C-1ABD-D14A-7299E05376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4423718"/>
            <a:ext cx="18288000" cy="586328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US" dirty="0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CEABAFD-74D6-51C2-98C1-CCA5795CCD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0678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Google Shape;41;p7"/>
          <p:cNvSpPr txBox="1">
            <a:spLocks noGrp="1"/>
          </p:cNvSpPr>
          <p:nvPr>
            <p:ph type="title" hasCustomPrompt="1"/>
          </p:nvPr>
        </p:nvSpPr>
        <p:spPr>
          <a:xfrm>
            <a:off x="929400" y="1027449"/>
            <a:ext cx="13997562" cy="271046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42" name="Google Shape;42;p7"/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5143500"/>
            <a:ext cx="14635650" cy="445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43" name="Google Shape;43;p7"/>
          <p:cNvSpPr>
            <a:spLocks noGrp="1"/>
          </p:cNvSpPr>
          <p:nvPr>
            <p:ph type="pic" idx="2" hasCustomPrompt="1"/>
          </p:nvPr>
        </p:nvSpPr>
        <p:spPr>
          <a:xfrm>
            <a:off x="15565050" y="1027450"/>
            <a:ext cx="180870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966960"/>
            <a:ext cx="18288000" cy="32003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3" name="Google Shape;17;p3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25" name="Google Shape;17;p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_V2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3" name="Google Shape;17;p3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25" name="Google Shape;17;p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4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" name="Google Shape;17;p3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2" name="Google Shape;17;p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1" name="Google Shape;17;p3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userDrawn="1">
  <p:cSld name="BASIC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2277035"/>
            <a:ext cx="11320550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IMAGE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0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01EAD0F-8252-A92E-A4DF-B071AD590EF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0"/>
            <a:ext cx="18288000" cy="10293350"/>
          </a:xfrm>
          <a:solidFill>
            <a:schemeClr val="bg1">
              <a:lumMod val="75000"/>
              <a:alpha val="80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6119813" y="5869292"/>
            <a:ext cx="6093129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AGENDA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Google Shape;12;p2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Google Shape;13;p2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Google Shape;14;p2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BASIC_CONTENT_V1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Google Shape;35;p6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TEXT" userDrawn="1">
  <p:cSld name="HEADING_LEFT_CONTENT_RIGH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A552A79-B159-5259-79DF-C48F82B0D5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9154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Google Shape;25;p4"/>
          <p:cNvSpPr txBox="1"/>
          <p:nvPr/>
        </p:nvSpPr>
        <p:spPr>
          <a:xfrm>
            <a:off x="942500" y="9602000"/>
            <a:ext cx="8201400" cy="39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latin typeface="Roboto Light"/>
                <a:ea typeface="Roboto Light"/>
                <a:cs typeface="Roboto Light"/>
                <a:sym typeface="Roboto Light"/>
              </a:rPr>
              <a:t>Smart Slides ChatGPT Plugin</a:t>
            </a:r>
            <a:endParaRPr>
              <a:latin typeface="Roboto Light"/>
              <a:ea typeface="Roboto Light"/>
              <a:cs typeface="Roboto Light"/>
              <a:sym typeface="Roboto Light"/>
            </a:endParaRPr>
          </a:p>
        </p:txBody>
      </p:sp>
      <p:sp>
        <p:nvSpPr>
          <p:cNvPr id="26" name="Google Shape;26;p4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27" name="Google Shape;27;p4"/>
          <p:cNvSpPr txBox="1">
            <a:spLocks noGrp="1"/>
          </p:cNvSpPr>
          <p:nvPr>
            <p:ph type="body" idx="1" hasCustomPrompt="1"/>
          </p:nvPr>
        </p:nvSpPr>
        <p:spPr>
          <a:xfrm>
            <a:off x="9700325" y="2010750"/>
            <a:ext cx="5844300" cy="75912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US" dirty="0"/>
              <a:t>1</a:t>
            </a:r>
            <a:endParaRPr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384E20F-F2E2-7BD3-CA85-528A005F520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44000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7" name="Google Shape;24;p4">
            <a:extLst>
              <a:ext uri="{FF2B5EF4-FFF2-40B4-BE49-F238E27FC236}">
                <a16:creationId xmlns:a16="http://schemas.microsoft.com/office/drawing/2014/main" id="{80117613-6917-EF6F-BF4D-A48C702D8D66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42500" y="2010750"/>
            <a:ext cx="7119600" cy="17040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US" dirty="0"/>
              <a:t>0</a:t>
            </a:r>
            <a:endParaRPr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27722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OP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D679FE-3B60-23E0-8EBD-D3204877DB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95" imgH="394" progId="TCLayout.ActiveDocument.1">
                  <p:embed/>
                </p:oleObj>
              </mc:Choice>
              <mc:Fallback>
                <p:oleObj name="think-cell Slide" r:id="rId18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Font typeface="Calibri"/>
              <a:buNone/>
              <a:defRPr sz="4800"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19075" y="2464225"/>
            <a:ext cx="14625600" cy="70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 err="1"/>
              <a:t>asd</a:t>
            </a:r>
            <a:endParaRPr dirty="0"/>
          </a:p>
        </p:txBody>
      </p:sp>
      <p:sp>
        <p:nvSpPr>
          <p:cNvPr id="8" name="Google Shape;8;p1"/>
          <p:cNvSpPr txBox="1"/>
          <p:nvPr/>
        </p:nvSpPr>
        <p:spPr>
          <a:xfrm>
            <a:off x="942500" y="9602000"/>
            <a:ext cx="8201400" cy="39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latin typeface="Roboto Light"/>
                <a:ea typeface="Roboto Light"/>
                <a:cs typeface="Roboto Light"/>
                <a:sym typeface="Roboto Light"/>
              </a:rPr>
              <a:t>Smart Slides ChatGPT Plugin</a:t>
            </a:r>
            <a:endParaRPr>
              <a:latin typeface="Roboto Light"/>
              <a:ea typeface="Roboto Light"/>
              <a:cs typeface="Roboto Light"/>
              <a:sym typeface="Roboto Light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3" r:id="rId1"/>
    <p:sldLayoutId id="2147483649" r:id="rId2"/>
    <p:sldLayoutId id="2147483666" r:id="rId3"/>
    <p:sldLayoutId id="2147483662" r:id="rId4"/>
    <p:sldLayoutId id="2147483664" r:id="rId5"/>
    <p:sldLayoutId id="2147483650" r:id="rId6"/>
    <p:sldLayoutId id="2147483660" r:id="rId7"/>
    <p:sldLayoutId id="2147483657" r:id="rId8"/>
    <p:sldLayoutId id="2147483665" r:id="rId9"/>
    <p:sldLayoutId id="2147483658" r:id="rId10"/>
    <p:sldLayoutId id="2147483661" r:id="rId11"/>
    <p:sldLayoutId id="2147483653" r:id="rId12"/>
    <p:sldLayoutId id="2147483655" r:id="rId13"/>
    <p:sldLayoutId id="2147483659" r:id="rId14"/>
    <p:sldLayoutId id="2147483656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760">
          <p15:clr>
            <a:srgbClr val="E46962"/>
          </p15:clr>
        </p15:guide>
        <p15:guide id="2" pos="579">
          <p15:clr>
            <a:srgbClr val="E46962"/>
          </p15:clr>
        </p15:guide>
        <p15:guide id="3" pos="10944">
          <p15:clr>
            <a:srgbClr val="E46962"/>
          </p15:clr>
        </p15:guide>
        <p15:guide id="4" orient="horz" pos="648">
          <p15:clr>
            <a:srgbClr val="E46962"/>
          </p15:clr>
        </p15:guide>
        <p15:guide id="5" orient="horz" pos="6048">
          <p15:clr>
            <a:srgbClr val="E46962"/>
          </p15:clr>
        </p15:guide>
        <p15:guide id="6" orient="horz" pos="3240">
          <p15:clr>
            <a:srgbClr val="E46962"/>
          </p15:clr>
        </p15:guide>
        <p15:guide id="7" orient="horz" pos="1267">
          <p15:clr>
            <a:srgbClr val="E46962"/>
          </p15:clr>
        </p15:guide>
        <p15:guide id="8" pos="9792">
          <p15:clr>
            <a:srgbClr val="E46962"/>
          </p15:clr>
        </p15:guide>
        <p15:guide id="9" pos="10080">
          <p15:clr>
            <a:srgbClr val="E46962"/>
          </p15:clr>
        </p15:guide>
        <p15:guide id="10" pos="3855" userDrawn="1">
          <p15:clr>
            <a:srgbClr val="E46962"/>
          </p15:clr>
        </p15:guide>
        <p15:guide id="11" pos="7710" userDrawn="1">
          <p15:clr>
            <a:srgbClr val="E46962"/>
          </p15:clr>
        </p15:guide>
        <p15:guide id="12" orient="horz" pos="2160" userDrawn="1">
          <p15:clr>
            <a:srgbClr val="E46962"/>
          </p15:clr>
        </p15:guide>
        <p15:guide id="13" orient="horz" pos="4310" userDrawn="1">
          <p15:clr>
            <a:srgbClr val="E46962"/>
          </p15:clr>
        </p15:guide>
        <p15:guide id="14" orient="horz" pos="14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unsplash.com/?utm_source=smart%20slides&amp;utm_medium=referral" TargetMode="External"/><Relationship Id="rId5" Type="http://schemas.openxmlformats.org/officeDocument/2006/relationships/hyperlink" Target="https://unsplash.com/@karsten_wuerth?utm_source=smart%20slides&amp;utm_medium=referral" TargetMode="External"/><Relationship Id="rId4" Type="http://schemas.openxmlformats.org/officeDocument/2006/relationships/hyperlink" Target="https://unsplash.com/photos/0w-uTa0Xz7w?utm_source=smart%20slides&amp;utm_medium=referral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unsplash.com/?utm_source=smart%20slides&amp;utm_medium=referral" TargetMode="External"/><Relationship Id="rId5" Type="http://schemas.openxmlformats.org/officeDocument/2006/relationships/hyperlink" Target="https://unsplash.com/@dmitrynovikoff?utm_source=smart%20slides&amp;utm_medium=referral" TargetMode="External"/><Relationship Id="rId4" Type="http://schemas.openxmlformats.org/officeDocument/2006/relationships/hyperlink" Target="https://unsplash.com/photos/2AUKCjG9-24?utm_source=smart%20slides&amp;utm_medium=referral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unsplash.com/?utm_source=smart%20slides&amp;utm_medium=referral" TargetMode="External"/><Relationship Id="rId5" Type="http://schemas.openxmlformats.org/officeDocument/2006/relationships/hyperlink" Target="https://unsplash.com/@kellysikkema?utm_source=smart%20slides&amp;utm_medium=referral" TargetMode="External"/><Relationship Id="rId4" Type="http://schemas.openxmlformats.org/officeDocument/2006/relationships/hyperlink" Target="https://unsplash.com/photos/zwU2x2Yg-xY?utm_source=smart%20slides&amp;utm_medium=referral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unsplash.com/?utm_source=smart%20slides&amp;utm_medium=referral" TargetMode="External"/><Relationship Id="rId5" Type="http://schemas.openxmlformats.org/officeDocument/2006/relationships/hyperlink" Target="https://unsplash.com/@karsten_wuerth?utm_source=smart%20slides&amp;utm_medium=referral" TargetMode="External"/><Relationship Id="rId4" Type="http://schemas.openxmlformats.org/officeDocument/2006/relationships/hyperlink" Target="https://unsplash.com/photos/w_a40DuyPAc?utm_source=smart%20slides&amp;utm_medium=referral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solidFill>
            <a:srgbClr val="0078D4"/>
          </a:solidFill>
        </p:spPr>
        <p:txBody>
          <a:bodyPr/>
          <a:lstStyle/>
          <a:p>
            <a:endParaRPr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FFFFFF"/>
                </a:solidFill>
              </a:defRPr>
            </a:pPr>
            <a:r>
              <a:t>Microsoft Fabric vs Power BI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Een vergelijking van twee Microsoft-producten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0078D4"/>
                </a:solidFill>
              </a:defRPr>
            </a:pPr>
            <a:r>
              <a:t>Verschill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Doel: Fluent UI vs. Business Analytics Tool</a:t>
            </a:r>
          </a:p>
          <a:p>
            <a:r>
              <a:t>Gebruik: Interfaces vs. Data-analyse</a:t>
            </a:r>
          </a:p>
          <a:p>
            <a:r>
              <a:t>Integratie: Microsoft-producten vs. Databronnen</a:t>
            </a:r>
          </a:p>
          <a:p>
            <a:r>
              <a:t>Gebruikers: Ontwikkelaars vs. Zakelijke gebruikers</a:t>
            </a:r>
          </a:p>
          <a:p>
            <a:r>
              <a:t>Platform: Web, Mobiel, Desktop vs. Web &amp; Desktop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0078D4"/>
                </a:solidFill>
              </a:defRPr>
            </a:pPr>
            <a:r>
              <a:t>Fluent UI - Sterke Pun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Consistentie in Microsoft-producten</a:t>
            </a:r>
          </a:p>
          <a:p>
            <a:r>
              <a:t>Flexibiliteit in ontwerppatronen</a:t>
            </a:r>
          </a:p>
          <a:p>
            <a:r>
              <a:t>Naadloze integratie</a:t>
            </a:r>
          </a:p>
          <a:p>
            <a:r>
              <a:t>Uitgebreide aanpassingsmogelijkheden</a:t>
            </a:r>
          </a:p>
          <a:p>
            <a:r>
              <a:t>Actieve community &amp; documentatie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l="11" r="11"/>
          <a:stretch>
            <a:fillRect/>
          </a:stretch>
        </p:blipFill>
        <p:spPr/>
      </p:pic>
      <p:pic>
        <p:nvPicPr>
          <p:cNvPr id="5" name="Picture Placeholder 4" descr="0w-uTa0Xz7w.jpg"/>
          <p:cNvPicPr>
            <a:picLocks noGrp="1" noChangeAspect="1"/>
          </p:cNvPicPr>
          <p:nvPr>
            <p:ph type="pic" idx="10"/>
          </p:nvPr>
        </p:nvPicPr>
        <p:blipFill>
          <a:blip r:embed="rId3"/>
          <a:srcRect l="30401" r="30401"/>
          <a:stretch>
            <a:fillRect/>
          </a:stretch>
        </p:blipFill>
        <p:spPr/>
      </p:pic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solidFill>
            <a:srgbClr val="0078D4"/>
          </a:solidFill>
        </p:spPr>
        <p:txBody>
          <a:bodyPr/>
          <a:lstStyle/>
          <a:p>
            <a:endParaRPr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>
                <a:hlinkClick r:id="rId4"/>
              </a:rPr>
              <a:t>Photo: windmill on grass field during golden hour</a:t>
            </a:r>
          </a:p>
          <a:p>
            <a:r>
              <a:rPr>
                <a:hlinkClick r:id="rId5"/>
              </a:rPr>
              <a:t>Photo by Karsten Würth</a:t>
            </a:r>
          </a:p>
          <a:p>
            <a:r>
              <a:rPr>
                <a:hlinkClick r:id="rId6"/>
              </a:rPr>
              <a:t>Powered by Unsplash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0078D4"/>
                </a:solidFill>
              </a:defRPr>
            </a:pPr>
            <a:r>
              <a:t>Fluent UI - Zwakke Pun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Steile leercurve voor nieuwkomers</a:t>
            </a:r>
          </a:p>
          <a:p>
            <a:r>
              <a:t>Beperkt tot Microsoft-ecosystemen</a:t>
            </a:r>
          </a:p>
          <a:p>
            <a:r>
              <a:t>Frequente en soms verwarrende updates</a:t>
            </a:r>
          </a:p>
          <a:p>
            <a:r>
              <a:t>Kan zwaar zijn voor simpele toepassingen</a:t>
            </a:r>
          </a:p>
          <a:p>
            <a:r>
              <a:t>Mogelijke overkill voor eenvoudige projecten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l="11" r="11"/>
          <a:stretch>
            <a:fillRect/>
          </a:stretch>
        </p:blipFill>
        <p:spPr/>
      </p:pic>
      <p:pic>
        <p:nvPicPr>
          <p:cNvPr id="5" name="Picture Placeholder 4" descr="2AUKCjG9-24.jpg"/>
          <p:cNvPicPr>
            <a:picLocks noGrp="1" noChangeAspect="1"/>
          </p:cNvPicPr>
          <p:nvPr>
            <p:ph type="pic" idx="10"/>
          </p:nvPr>
        </p:nvPicPr>
        <p:blipFill>
          <a:blip r:embed="rId3"/>
          <a:srcRect l="5903" r="5903"/>
          <a:stretch>
            <a:fillRect/>
          </a:stretch>
        </p:blipFill>
        <p:spPr/>
      </p:pic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solidFill>
            <a:srgbClr val="0078D4"/>
          </a:solidFill>
        </p:spPr>
        <p:txBody>
          <a:bodyPr/>
          <a:lstStyle/>
          <a:p>
            <a:endParaRPr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>
                <a:hlinkClick r:id="rId4"/>
              </a:rPr>
              <a:t>Photo: black box on white table</a:t>
            </a:r>
          </a:p>
          <a:p>
            <a:r>
              <a:rPr>
                <a:hlinkClick r:id="rId5"/>
              </a:rPr>
              <a:t>Photo by Dmitry Novikov</a:t>
            </a:r>
          </a:p>
          <a:p>
            <a:r>
              <a:rPr>
                <a:hlinkClick r:id="rId6"/>
              </a:rPr>
              <a:t>Powered by Unsplash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0078D4"/>
                </a:solidFill>
              </a:defRPr>
            </a:pPr>
            <a:r>
              <a:t>Power BI - Sterke Pun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Krachtige datavisualisatietools</a:t>
            </a:r>
          </a:p>
          <a:p>
            <a:r>
              <a:t>Diverse databron integraties</a:t>
            </a:r>
          </a:p>
          <a:p>
            <a:r>
              <a:t>Intuïtieve drag-and-drop interface</a:t>
            </a:r>
          </a:p>
          <a:p>
            <a:r>
              <a:t>Eenvoudig delen van rapporten</a:t>
            </a:r>
          </a:p>
          <a:p>
            <a:r>
              <a:t>Automatische &amp; real-time data-updates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l="11" r="11"/>
          <a:stretch>
            <a:fillRect/>
          </a:stretch>
        </p:blipFill>
        <p:spPr/>
      </p:pic>
      <p:pic>
        <p:nvPicPr>
          <p:cNvPr id="5" name="Picture Placeholder 4" descr="zwU2x2Yg-xY.jpg"/>
          <p:cNvPicPr>
            <a:picLocks noGrp="1" noChangeAspect="1"/>
          </p:cNvPicPr>
          <p:nvPr>
            <p:ph type="pic" idx="10"/>
          </p:nvPr>
        </p:nvPicPr>
        <p:blipFill>
          <a:blip r:embed="rId3"/>
          <a:srcRect l="5903" r="5903"/>
          <a:stretch>
            <a:fillRect/>
          </a:stretch>
        </p:blipFill>
        <p:spPr/>
      </p:pic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solidFill>
            <a:srgbClr val="0078D4"/>
          </a:solidFill>
        </p:spPr>
        <p:txBody>
          <a:bodyPr/>
          <a:lstStyle/>
          <a:p>
            <a:endParaRPr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>
                <a:hlinkClick r:id="rId4"/>
              </a:rPr>
              <a:t>Photo: white usb cable on brown wooden table</a:t>
            </a:r>
          </a:p>
          <a:p>
            <a:r>
              <a:rPr>
                <a:hlinkClick r:id="rId5"/>
              </a:rPr>
              <a:t>Photo by Kelly Sikkema</a:t>
            </a:r>
          </a:p>
          <a:p>
            <a:r>
              <a:rPr>
                <a:hlinkClick r:id="rId6"/>
              </a:rPr>
              <a:t>Powered by Unsplash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0078D4"/>
                </a:solidFill>
              </a:defRPr>
            </a:pPr>
            <a:r>
              <a:t>Power BI - Zwakke Pun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Kan prijzig zijn voor kleine bedrijven</a:t>
            </a:r>
          </a:p>
          <a:p>
            <a:r>
              <a:t>Leercurve voor geavanceerde functies</a:t>
            </a:r>
          </a:p>
          <a:p>
            <a:r>
              <a:t>Moeilijke integratie met sommige databronnen</a:t>
            </a:r>
          </a:p>
          <a:p>
            <a:r>
              <a:t>Performance issues met grote datasets</a:t>
            </a:r>
          </a:p>
          <a:p>
            <a:r>
              <a:t>Beperkte aanpasbaarheid vs. andere BI-tools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l="11" r="11"/>
          <a:stretch>
            <a:fillRect/>
          </a:stretch>
        </p:blipFill>
        <p:spPr/>
      </p:pic>
      <p:pic>
        <p:nvPicPr>
          <p:cNvPr id="5" name="Picture Placeholder 4" descr="w_a40DuyPAc.jpg"/>
          <p:cNvPicPr>
            <a:picLocks noGrp="1" noChangeAspect="1"/>
          </p:cNvPicPr>
          <p:nvPr>
            <p:ph type="pic" idx="10"/>
          </p:nvPr>
        </p:nvPicPr>
        <p:blipFill>
          <a:blip r:embed="rId3"/>
          <a:srcRect l="30401" r="30401"/>
          <a:stretch>
            <a:fillRect/>
          </a:stretch>
        </p:blipFill>
        <p:spPr/>
      </p:pic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solidFill>
            <a:srgbClr val="0078D4"/>
          </a:solidFill>
        </p:spPr>
        <p:txBody>
          <a:bodyPr/>
          <a:lstStyle/>
          <a:p>
            <a:endParaRPr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>
                <a:hlinkClick r:id="rId4"/>
              </a:rPr>
              <a:t>Photo: windmill surrounded by grass during daytime</a:t>
            </a:r>
          </a:p>
          <a:p>
            <a:r>
              <a:rPr>
                <a:hlinkClick r:id="rId5"/>
              </a:rPr>
              <a:t>Photo by Karsten Würth</a:t>
            </a:r>
          </a:p>
          <a:p>
            <a:r>
              <a:rPr>
                <a:hlinkClick r:id="rId6"/>
              </a:rPr>
              <a:t>Powered by Unsplash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solidFill>
            <a:srgbClr val="0078D4"/>
          </a:solidFill>
        </p:spPr>
        <p:txBody>
          <a:bodyPr/>
          <a:lstStyle/>
          <a:p>
            <a:endParaRPr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0078D4"/>
                </a:solidFill>
              </a:defRPr>
            </a:pPr>
            <a:r>
              <a:t>Conclusi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Voor visualisatiedoeleinden is Power BI de winnaar.</a:t>
            </a:r>
          </a:p>
          <a:p>
            <a:r>
              <a:t>Fluent UI is sterk in UI-ontwikkeling, maar niet voor datavisualisatie.</a:t>
            </a:r>
          </a:p>
          <a:p>
            <a:r>
              <a:t>Kies Power BI voor datavisualisatie.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/>
          <a:stretch>
            <a:fillRect/>
          </a:stretch>
        </p:blipFill>
        <p:spPr/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 Slides v1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8500EA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35</TotalTime>
  <Words>238</Words>
  <Application>Microsoft Macintosh PowerPoint</Application>
  <PresentationFormat>Aangepast</PresentationFormat>
  <Paragraphs>48</Paragraphs>
  <Slides>7</Slides>
  <Notes>0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3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7</vt:i4>
      </vt:variant>
    </vt:vector>
  </HeadingPairs>
  <TitlesOfParts>
    <vt:vector size="12" baseType="lpstr">
      <vt:lpstr>Arial</vt:lpstr>
      <vt:lpstr>Roboto Light</vt:lpstr>
      <vt:lpstr>Calibri</vt:lpstr>
      <vt:lpstr>Smart Slides v1</vt:lpstr>
      <vt:lpstr>think-cell Slide</vt:lpstr>
      <vt:lpstr>Microsoft Fabric vs Power BI</vt:lpstr>
      <vt:lpstr>Verschillen</vt:lpstr>
      <vt:lpstr>Fluent UI - Sterke Punten</vt:lpstr>
      <vt:lpstr>Fluent UI - Zwakke Punten</vt:lpstr>
      <vt:lpstr>Power BI - Sterke Punten</vt:lpstr>
      <vt:lpstr>Power BI - Zwakke Punten</vt:lpstr>
      <vt:lpstr>Conclus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cp:lastModifiedBy>Dennis Landman</cp:lastModifiedBy>
  <cp:revision>31</cp:revision>
  <dcterms:modified xsi:type="dcterms:W3CDTF">2023-09-17T19:58:34Z</dcterms:modified>
</cp:coreProperties>
</file>